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3453" userDrawn="1">
          <p15:clr>
            <a:srgbClr val="A4A3A4"/>
          </p15:clr>
        </p15:guide>
        <p15:guide id="13" pos="59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7F0000"/>
    <a:srgbClr val="B00000"/>
    <a:srgbClr val="FF8989"/>
    <a:srgbClr val="D9D9D9"/>
    <a:srgbClr val="A1A1A1"/>
    <a:srgbClr val="404040"/>
    <a:srgbClr val="F6F6F6"/>
    <a:srgbClr val="444444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  <p:guide orient="horz" pos="2160"/>
        <p:guide orient="horz" pos="3453"/>
        <p:guide pos="59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PS)" userId="79615dfe-ed48-4e74-a40f-4f7b034c1c27" providerId="ADAL" clId="{06063CA0-AEE8-4F27-859A-97DB1F593625}"/>
    <pc:docChg chg="modSld">
      <pc:chgData name="Meyer Raphael (PAR-EPS)" userId="79615dfe-ed48-4e74-a40f-4f7b034c1c27" providerId="ADAL" clId="{06063CA0-AEE8-4F27-859A-97DB1F593625}" dt="2026-02-20T11:07:34.593" v="4" actId="27918"/>
      <pc:docMkLst>
        <pc:docMk/>
      </pc:docMkLst>
      <pc:sldChg chg="mod">
        <pc:chgData name="Meyer Raphael (PAR-EPS)" userId="79615dfe-ed48-4e74-a40f-4f7b034c1c27" providerId="ADAL" clId="{06063CA0-AEE8-4F27-859A-97DB1F593625}" dt="2026-02-20T11:07:34.593" v="4" actId="27918"/>
        <pc:sldMkLst>
          <pc:docMk/>
          <pc:sldMk cId="1659961403" sldId="399"/>
        </pc:sldMkLst>
      </pc:sldChg>
    </pc:docChg>
  </pc:docChgLst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0:22:13.125" v="12" actId="207"/>
      <pc:docMkLst>
        <pc:docMk/>
      </pc:docMkLst>
      <pc:sldChg chg="modSp mod">
        <pc:chgData name="Weigel Stefan (PAR-EPS)" userId="fd3b2067-2981-4ad8-bf3a-d2e1004e4fa8" providerId="ADAL" clId="{A4CFA2F4-FF8D-446B-B271-6DF568DBEADA}" dt="2026-02-12T10:22:13.125" v="12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A4CFA2F4-FF8D-446B-B271-6DF568DBEADA}" dt="2026-02-12T10:21:00.270" v="1" actId="20577"/>
          <ac:spMkLst>
            <pc:docMk/>
            <pc:sldMk cId="1659961403" sldId="399"/>
            <ac:spMk id="2" creationId="{00000000-0000-0000-0000-000000000000}"/>
          </ac:spMkLst>
        </pc:spChg>
        <pc:graphicFrameChg chg="mod">
          <ac:chgData name="Weigel Stefan (PAR-EPS)" userId="fd3b2067-2981-4ad8-bf3a-d2e1004e4fa8" providerId="ADAL" clId="{A4CFA2F4-FF8D-446B-B271-6DF568DBEADA}" dt="2026-02-12T10:22:13.125" v="12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nergieverbrauch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91C1-4368-8712-1FFA6E2A3F9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9</c:f>
              <c:strCache>
                <c:ptCount val="7"/>
                <c:pt idx="0">
                  <c:v>Consumo di corrente ferroviaria Traffico viaggiatori e merci FFS</c:v>
                </c:pt>
                <c:pt idx="1">
                  <c:v>Consumo proprio di corrente ferroviaria Infrastruttura Rete</c:v>
                </c:pt>
                <c:pt idx="2">
                  <c:v>Consumo proprio di corrente ferroviaria Infrastruttura Energia</c:v>
                </c:pt>
                <c:pt idx="3">
                  <c:v>Corrente per edifici e impianti</c:v>
                </c:pt>
                <c:pt idx="4">
                  <c:v>Carburante per trazione ferroviaria</c:v>
                </c:pt>
                <c:pt idx="5">
                  <c:v>Carburante per veicoli stradali, macchinari e apparecchi</c:v>
                </c:pt>
                <c:pt idx="6">
                  <c:v>Energia termica per immobili e impianti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687.1480083680001</c:v>
                </c:pt>
                <c:pt idx="1">
                  <c:v>104.64253017199999</c:v>
                </c:pt>
                <c:pt idx="2">
                  <c:v>189.66059999999999</c:v>
                </c:pt>
                <c:pt idx="3">
                  <c:v>275.43759451</c:v>
                </c:pt>
                <c:pt idx="4">
                  <c:v>89.409598519170103</c:v>
                </c:pt>
                <c:pt idx="5">
                  <c:v>25.284319791009299</c:v>
                </c:pt>
                <c:pt idx="6">
                  <c:v>167.6689792675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9.497211721213894E-2"/>
          <c:y val="0.73015177378334406"/>
          <c:w val="0.87065602873911319"/>
          <c:h val="0.26984822621665594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Treibhausgasemissionen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FC46-4EEA-8EE7-1083D527B585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9</c:f>
              <c:strCache>
                <c:ptCount val="7"/>
                <c:pt idx="0">
                  <c:v>Corrente ferroviaria</c:v>
                </c:pt>
                <c:pt idx="1">
                  <c:v>Consumo proprio di corrente ferroviaria Infrastruttura Rete</c:v>
                </c:pt>
                <c:pt idx="2">
                  <c:v>Consumo proprio di corrente ferroviaria Infrastruttura Energia</c:v>
                </c:pt>
                <c:pt idx="3">
                  <c:v>Corrente per edifici e impianti</c:v>
                </c:pt>
                <c:pt idx="4">
                  <c:v>Carburante per trazione ferroviaria</c:v>
                </c:pt>
                <c:pt idx="5">
                  <c:v>Carburante per veicoli stradali, macchinari e apparecchi</c:v>
                </c:pt>
                <c:pt idx="6">
                  <c:v>Energia termica per immobili e impianti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330.5229325307801</c:v>
                </c:pt>
                <c:pt idx="1">
                  <c:v>82.523456994486594</c:v>
                </c:pt>
                <c:pt idx="2">
                  <c:v>149.57062240297901</c:v>
                </c:pt>
                <c:pt idx="3">
                  <c:v>217.21629291502799</c:v>
                </c:pt>
                <c:pt idx="4">
                  <c:v>18849.021439193199</c:v>
                </c:pt>
                <c:pt idx="5">
                  <c:v>6818.9822849477196</c:v>
                </c:pt>
                <c:pt idx="6">
                  <c:v>20287.06897493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nergia e clima nel 2025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36337800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17700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400" b="0" i="0" u="none" strike="noStrike" kern="1200" cap="none" spc="0" normalizeH="0" baseline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Consumo di energi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75389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missioni gas a effetto serra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129587181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901157" y="5372021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15380B8-1F1D-F904-610A-499F9FCB2846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purl.org/dc/dcmitype/"/>
    <ds:schemaRef ds:uri="http://schemas.microsoft.com/office/2006/documentManagement/types"/>
    <ds:schemaRef ds:uri="96e82a89-ba48-4728-b345-cf206dbec8f1"/>
    <ds:schemaRef ds:uri="http://purl.org/dc/elements/1.1/"/>
    <ds:schemaRef ds:uri="http://www.w3.org/XML/1998/namespace"/>
    <ds:schemaRef ds:uri="http://schemas.openxmlformats.org/package/2006/metadata/core-properties"/>
    <ds:schemaRef ds:uri="2f5c8543-cf23-4718-a3b8-32b0a91d511a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311098-933F-4E50-B23A-F51C8F0B9C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nergia e clima nel 2025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a e clima nel 2024.</dc:title>
  <dc:creator>Meyer Raphael (KOM-PGA-VSF)</dc:creator>
  <cp:lastModifiedBy>Weigel Stefan (PAR-EPS)</cp:lastModifiedBy>
  <cp:revision>56</cp:revision>
  <cp:lastPrinted>2024-02-16T13:08:26Z</cp:lastPrinted>
  <dcterms:created xsi:type="dcterms:W3CDTF">2020-09-30T11:00:09Z</dcterms:created>
  <dcterms:modified xsi:type="dcterms:W3CDTF">2026-03-03T13:1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